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3"/>
  </p:notesMasterIdLst>
  <p:sldIdLst>
    <p:sldId id="257" r:id="rId3"/>
    <p:sldId id="268" r:id="rId4"/>
    <p:sldId id="260" r:id="rId5"/>
    <p:sldId id="256" r:id="rId6"/>
    <p:sldId id="258" r:id="rId7"/>
    <p:sldId id="259" r:id="rId8"/>
    <p:sldId id="267" r:id="rId9"/>
    <p:sldId id="262" r:id="rId10"/>
    <p:sldId id="264" r:id="rId11"/>
    <p:sldId id="263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9C0F05-B035-429A-BB58-D5FF37083A66}" v="520" dt="2024-07-09T06:10:11.7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9412" autoAdjust="0"/>
  </p:normalViewPr>
  <p:slideViewPr>
    <p:cSldViewPr snapToGrid="0">
      <p:cViewPr varScale="1">
        <p:scale>
          <a:sx n="74" d="100"/>
          <a:sy n="74" d="100"/>
        </p:scale>
        <p:origin x="1042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ris Hussain" userId="d4328be27e109393" providerId="LiveId" clId="{B69C0F05-B035-429A-BB58-D5FF37083A66}"/>
    <pc:docChg chg="undo custSel modSld sldOrd">
      <pc:chgData name="Faris Hussain" userId="d4328be27e109393" providerId="LiveId" clId="{B69C0F05-B035-429A-BB58-D5FF37083A66}" dt="2024-07-09T06:10:23.777" v="101" actId="26606"/>
      <pc:docMkLst>
        <pc:docMk/>
      </pc:docMkLst>
      <pc:sldChg chg="modSp">
        <pc:chgData name="Faris Hussain" userId="d4328be27e109393" providerId="LiveId" clId="{B69C0F05-B035-429A-BB58-D5FF37083A66}" dt="2024-07-08T21:48:58.074" v="16" actId="553"/>
        <pc:sldMkLst>
          <pc:docMk/>
          <pc:sldMk cId="50653627" sldId="259"/>
        </pc:sldMkLst>
        <pc:spChg chg="mod">
          <ac:chgData name="Faris Hussain" userId="d4328be27e109393" providerId="LiveId" clId="{B69C0F05-B035-429A-BB58-D5FF37083A66}" dt="2024-07-08T21:48:44.684" v="14" actId="20577"/>
          <ac:spMkLst>
            <pc:docMk/>
            <pc:sldMk cId="50653627" sldId="259"/>
            <ac:spMk id="9" creationId="{8E9DC5DA-D51E-9450-384F-32C7619D9857}"/>
          </ac:spMkLst>
        </pc:spChg>
        <pc:spChg chg="mod">
          <ac:chgData name="Faris Hussain" userId="d4328be27e109393" providerId="LiveId" clId="{B69C0F05-B035-429A-BB58-D5FF37083A66}" dt="2024-07-08T21:48:58.074" v="16" actId="553"/>
          <ac:spMkLst>
            <pc:docMk/>
            <pc:sldMk cId="50653627" sldId="259"/>
            <ac:spMk id="17" creationId="{BD7688A7-C5ED-E60D-3DE0-AB6A9BA78820}"/>
          </ac:spMkLst>
        </pc:spChg>
      </pc:sldChg>
      <pc:sldChg chg="addSp modSp ord">
        <pc:chgData name="Faris Hussain" userId="d4328be27e109393" providerId="LiveId" clId="{B69C0F05-B035-429A-BB58-D5FF37083A66}" dt="2024-07-08T21:33:42.156" v="5"/>
        <pc:sldMkLst>
          <pc:docMk/>
          <pc:sldMk cId="1342139464" sldId="260"/>
        </pc:sldMkLst>
        <pc:spChg chg="add mod">
          <ac:chgData name="Faris Hussain" userId="d4328be27e109393" providerId="LiveId" clId="{B69C0F05-B035-429A-BB58-D5FF37083A66}" dt="2024-07-08T21:33:12.322" v="3" actId="20577"/>
          <ac:spMkLst>
            <pc:docMk/>
            <pc:sldMk cId="1342139464" sldId="260"/>
            <ac:spMk id="20" creationId="{0647FD19-CCAE-DD74-3A24-0DE2A66AE024}"/>
          </ac:spMkLst>
        </pc:spChg>
      </pc:sldChg>
      <pc:sldChg chg="addSp delSp modSp mod">
        <pc:chgData name="Faris Hussain" userId="d4328be27e109393" providerId="LiveId" clId="{B69C0F05-B035-429A-BB58-D5FF37083A66}" dt="2024-07-09T06:09:47.561" v="93"/>
        <pc:sldMkLst>
          <pc:docMk/>
          <pc:sldMk cId="761197355" sldId="262"/>
        </pc:sldMkLst>
        <pc:spChg chg="add mod">
          <ac:chgData name="Faris Hussain" userId="d4328be27e109393" providerId="LiveId" clId="{B69C0F05-B035-429A-BB58-D5FF37083A66}" dt="2024-07-08T22:04:10.804" v="61" actId="208"/>
          <ac:spMkLst>
            <pc:docMk/>
            <pc:sldMk cId="761197355" sldId="262"/>
            <ac:spMk id="26" creationId="{2EDDD691-0348-2481-AB4E-CE7A65F5926A}"/>
          </ac:spMkLst>
        </pc:spChg>
        <pc:spChg chg="add mod">
          <ac:chgData name="Faris Hussain" userId="d4328be27e109393" providerId="LiveId" clId="{B69C0F05-B035-429A-BB58-D5FF37083A66}" dt="2024-07-08T22:04:48.668" v="77" actId="1036"/>
          <ac:spMkLst>
            <pc:docMk/>
            <pc:sldMk cId="761197355" sldId="262"/>
            <ac:spMk id="27" creationId="{1531A6D8-69C2-BEDD-34BE-6BE1B7AB0FF9}"/>
          </ac:spMkLst>
        </pc:spChg>
        <pc:graphicFrameChg chg="add del mod">
          <ac:chgData name="Faris Hussain" userId="d4328be27e109393" providerId="LiveId" clId="{B69C0F05-B035-429A-BB58-D5FF37083A66}" dt="2024-07-08T22:06:10.564" v="88" actId="478"/>
          <ac:graphicFrameMkLst>
            <pc:docMk/>
            <pc:sldMk cId="761197355" sldId="262"/>
            <ac:graphicFrameMk id="24" creationId="{E1F39869-C136-D55C-B5D2-98ABF240D575}"/>
          </ac:graphicFrameMkLst>
        </pc:graphicFrameChg>
        <pc:picChg chg="add mod">
          <ac:chgData name="Faris Hussain" userId="d4328be27e109393" providerId="LiveId" clId="{B69C0F05-B035-429A-BB58-D5FF37083A66}" dt="2024-07-09T06:09:47.561" v="93"/>
          <ac:picMkLst>
            <pc:docMk/>
            <pc:sldMk cId="761197355" sldId="262"/>
            <ac:picMk id="32" creationId="{16ABC0B2-0CA8-A044-C662-66AD9BA722F5}"/>
          </ac:picMkLst>
        </pc:picChg>
        <pc:picChg chg="add del mod">
          <ac:chgData name="Faris Hussain" userId="d4328be27e109393" providerId="LiveId" clId="{B69C0F05-B035-429A-BB58-D5FF37083A66}" dt="2024-07-08T22:03:01.307" v="49" actId="478"/>
          <ac:picMkLst>
            <pc:docMk/>
            <pc:sldMk cId="761197355" sldId="262"/>
            <ac:picMk id="10242" creationId="{77722E55-39C0-E8A3-C322-B6358066CCDE}"/>
          </ac:picMkLst>
        </pc:picChg>
        <pc:cxnChg chg="add mod">
          <ac:chgData name="Faris Hussain" userId="d4328be27e109393" providerId="LiveId" clId="{B69C0F05-B035-429A-BB58-D5FF37083A66}" dt="2024-07-08T21:58:43.865" v="26" actId="1076"/>
          <ac:cxnSpMkLst>
            <pc:docMk/>
            <pc:sldMk cId="761197355" sldId="262"/>
            <ac:cxnSpMk id="14" creationId="{A906C409-F22C-6D84-C717-BDD4C895DC58}"/>
          </ac:cxnSpMkLst>
        </pc:cxnChg>
        <pc:cxnChg chg="add del mod">
          <ac:chgData name="Faris Hussain" userId="d4328be27e109393" providerId="LiveId" clId="{B69C0F05-B035-429A-BB58-D5FF37083A66}" dt="2024-07-08T22:06:03.966" v="87" actId="478"/>
          <ac:cxnSpMkLst>
            <pc:docMk/>
            <pc:sldMk cId="761197355" sldId="262"/>
            <ac:cxnSpMk id="16" creationId="{BD15B438-DA48-92C1-7C02-A497FC6FDA35}"/>
          </ac:cxnSpMkLst>
        </pc:cxnChg>
        <pc:cxnChg chg="add mod">
          <ac:chgData name="Faris Hussain" userId="d4328be27e109393" providerId="LiveId" clId="{B69C0F05-B035-429A-BB58-D5FF37083A66}" dt="2024-07-08T21:59:06.609" v="27" actId="1076"/>
          <ac:cxnSpMkLst>
            <pc:docMk/>
            <pc:sldMk cId="761197355" sldId="262"/>
            <ac:cxnSpMk id="17" creationId="{AC8A0E95-E039-30AF-A044-795A6D3A6DD5}"/>
          </ac:cxnSpMkLst>
        </pc:cxnChg>
        <pc:cxnChg chg="add del mod">
          <ac:chgData name="Faris Hussain" userId="d4328be27e109393" providerId="LiveId" clId="{B69C0F05-B035-429A-BB58-D5FF37083A66}" dt="2024-07-08T22:06:02.135" v="86" actId="478"/>
          <ac:cxnSpMkLst>
            <pc:docMk/>
            <pc:sldMk cId="761197355" sldId="262"/>
            <ac:cxnSpMk id="18" creationId="{5B215F52-FC5F-FAF9-CCEE-C9B7B683C00F}"/>
          </ac:cxnSpMkLst>
        </pc:cxnChg>
        <pc:cxnChg chg="add mod">
          <ac:chgData name="Faris Hussain" userId="d4328be27e109393" providerId="LiveId" clId="{B69C0F05-B035-429A-BB58-D5FF37083A66}" dt="2024-07-08T21:59:44.381" v="29" actId="1076"/>
          <ac:cxnSpMkLst>
            <pc:docMk/>
            <pc:sldMk cId="761197355" sldId="262"/>
            <ac:cxnSpMk id="19" creationId="{458EAF2F-5FB1-4272-06F9-DB69F0DBEF48}"/>
          </ac:cxnSpMkLst>
        </pc:cxnChg>
        <pc:cxnChg chg="add mod">
          <ac:chgData name="Faris Hussain" userId="d4328be27e109393" providerId="LiveId" clId="{B69C0F05-B035-429A-BB58-D5FF37083A66}" dt="2024-07-08T22:00:16.776" v="34" actId="1036"/>
          <ac:cxnSpMkLst>
            <pc:docMk/>
            <pc:sldMk cId="761197355" sldId="262"/>
            <ac:cxnSpMk id="20" creationId="{22212632-A729-8D89-D56F-E9210F362041}"/>
          </ac:cxnSpMkLst>
        </pc:cxnChg>
        <pc:cxnChg chg="add mod">
          <ac:chgData name="Faris Hussain" userId="d4328be27e109393" providerId="LiveId" clId="{B69C0F05-B035-429A-BB58-D5FF37083A66}" dt="2024-07-08T22:00:36.702" v="36" actId="1076"/>
          <ac:cxnSpMkLst>
            <pc:docMk/>
            <pc:sldMk cId="761197355" sldId="262"/>
            <ac:cxnSpMk id="21" creationId="{C65A77CC-141A-5481-2016-1A0DA7F47515}"/>
          </ac:cxnSpMkLst>
        </pc:cxnChg>
        <pc:cxnChg chg="add mod">
          <ac:chgData name="Faris Hussain" userId="d4328be27e109393" providerId="LiveId" clId="{B69C0F05-B035-429A-BB58-D5FF37083A66}" dt="2024-07-08T22:01:03.786" v="41" actId="1036"/>
          <ac:cxnSpMkLst>
            <pc:docMk/>
            <pc:sldMk cId="761197355" sldId="262"/>
            <ac:cxnSpMk id="22" creationId="{CA4BE81F-D297-403D-6E6B-3270CCBA03B9}"/>
          </ac:cxnSpMkLst>
        </pc:cxnChg>
        <pc:cxnChg chg="add mod">
          <ac:chgData name="Faris Hussain" userId="d4328be27e109393" providerId="LiveId" clId="{B69C0F05-B035-429A-BB58-D5FF37083A66}" dt="2024-07-08T22:04:17.346" v="63" actId="1035"/>
          <ac:cxnSpMkLst>
            <pc:docMk/>
            <pc:sldMk cId="761197355" sldId="262"/>
            <ac:cxnSpMk id="23" creationId="{D5C8C662-DAB3-B39F-6976-572F66A8201D}"/>
          </ac:cxnSpMkLst>
        </pc:cxnChg>
        <pc:cxnChg chg="add mod">
          <ac:chgData name="Faris Hussain" userId="d4328be27e109393" providerId="LiveId" clId="{B69C0F05-B035-429A-BB58-D5FF37083A66}" dt="2024-07-08T22:03:22.374" v="54" actId="1036"/>
          <ac:cxnSpMkLst>
            <pc:docMk/>
            <pc:sldMk cId="761197355" sldId="262"/>
            <ac:cxnSpMk id="25" creationId="{7F2AF713-2EE7-0DED-B19F-D7581339E599}"/>
          </ac:cxnSpMkLst>
        </pc:cxnChg>
        <pc:cxnChg chg="add mod">
          <ac:chgData name="Faris Hussain" userId="d4328be27e109393" providerId="LiveId" clId="{B69C0F05-B035-429A-BB58-D5FF37083A66}" dt="2024-07-08T22:05:14.881" v="79" actId="1076"/>
          <ac:cxnSpMkLst>
            <pc:docMk/>
            <pc:sldMk cId="761197355" sldId="262"/>
            <ac:cxnSpMk id="28" creationId="{8C20CDBE-D1E1-28EC-1CC3-4C15050FD269}"/>
          </ac:cxnSpMkLst>
        </pc:cxnChg>
        <pc:cxnChg chg="add mod">
          <ac:chgData name="Faris Hussain" userId="d4328be27e109393" providerId="LiveId" clId="{B69C0F05-B035-429A-BB58-D5FF37083A66}" dt="2024-07-08T22:05:44.646" v="81" actId="1076"/>
          <ac:cxnSpMkLst>
            <pc:docMk/>
            <pc:sldMk cId="761197355" sldId="262"/>
            <ac:cxnSpMk id="29" creationId="{C02B789D-FEB1-01C6-2A45-6D5737C9A041}"/>
          </ac:cxnSpMkLst>
        </pc:cxnChg>
        <pc:cxnChg chg="add mod">
          <ac:chgData name="Faris Hussain" userId="d4328be27e109393" providerId="LiveId" clId="{B69C0F05-B035-429A-BB58-D5FF37083A66}" dt="2024-07-08T22:05:52.054" v="83" actId="1076"/>
          <ac:cxnSpMkLst>
            <pc:docMk/>
            <pc:sldMk cId="761197355" sldId="262"/>
            <ac:cxnSpMk id="30" creationId="{D1B61D65-9913-2C51-2FC2-EEF62AFBC834}"/>
          </ac:cxnSpMkLst>
        </pc:cxnChg>
        <pc:cxnChg chg="add mod">
          <ac:chgData name="Faris Hussain" userId="d4328be27e109393" providerId="LiveId" clId="{B69C0F05-B035-429A-BB58-D5FF37083A66}" dt="2024-07-08T22:05:57.790" v="85" actId="1076"/>
          <ac:cxnSpMkLst>
            <pc:docMk/>
            <pc:sldMk cId="761197355" sldId="262"/>
            <ac:cxnSpMk id="31" creationId="{46E57A31-FE2C-1B5C-F661-976DE7E71A2E}"/>
          </ac:cxnSpMkLst>
        </pc:cxnChg>
      </pc:sldChg>
      <pc:sldChg chg="addSp modSp mod">
        <pc:chgData name="Faris Hussain" userId="d4328be27e109393" providerId="LiveId" clId="{B69C0F05-B035-429A-BB58-D5FF37083A66}" dt="2024-07-09T06:09:40.911" v="91" actId="1076"/>
        <pc:sldMkLst>
          <pc:docMk/>
          <pc:sldMk cId="1955788706" sldId="263"/>
        </pc:sldMkLst>
        <pc:spChg chg="mod">
          <ac:chgData name="Faris Hussain" userId="d4328be27e109393" providerId="LiveId" clId="{B69C0F05-B035-429A-BB58-D5FF37083A66}" dt="2024-07-08T22:08:11.524" v="89" actId="20577"/>
          <ac:spMkLst>
            <pc:docMk/>
            <pc:sldMk cId="1955788706" sldId="263"/>
            <ac:spMk id="5" creationId="{C51D9EC5-5CA1-9AFB-899F-DB2A1EAEAD5E}"/>
          </ac:spMkLst>
        </pc:spChg>
        <pc:picChg chg="add mod">
          <ac:chgData name="Faris Hussain" userId="d4328be27e109393" providerId="LiveId" clId="{B69C0F05-B035-429A-BB58-D5FF37083A66}" dt="2024-07-09T06:09:40.911" v="91" actId="1076"/>
          <ac:picMkLst>
            <pc:docMk/>
            <pc:sldMk cId="1955788706" sldId="263"/>
            <ac:picMk id="13" creationId="{03F0D1C1-1ECE-61BA-7D7B-4EF3CECC7E55}"/>
          </ac:picMkLst>
        </pc:picChg>
      </pc:sldChg>
      <pc:sldChg chg="addSp modSp">
        <pc:chgData name="Faris Hussain" userId="d4328be27e109393" providerId="LiveId" clId="{B69C0F05-B035-429A-BB58-D5FF37083A66}" dt="2024-07-09T06:09:45.261" v="92"/>
        <pc:sldMkLst>
          <pc:docMk/>
          <pc:sldMk cId="369072939" sldId="264"/>
        </pc:sldMkLst>
        <pc:picChg chg="add mod">
          <ac:chgData name="Faris Hussain" userId="d4328be27e109393" providerId="LiveId" clId="{B69C0F05-B035-429A-BB58-D5FF37083A66}" dt="2024-07-09T06:09:45.261" v="92"/>
          <ac:picMkLst>
            <pc:docMk/>
            <pc:sldMk cId="369072939" sldId="264"/>
            <ac:picMk id="16" creationId="{D2F98621-B2B9-0664-C117-4B8B9F63E222}"/>
          </ac:picMkLst>
        </pc:picChg>
      </pc:sldChg>
      <pc:sldChg chg="addSp modSp mod">
        <pc:chgData name="Faris Hussain" userId="d4328be27e109393" providerId="LiveId" clId="{B69C0F05-B035-429A-BB58-D5FF37083A66}" dt="2024-07-09T06:09:57.626" v="96" actId="167"/>
        <pc:sldMkLst>
          <pc:docMk/>
          <pc:sldMk cId="4033721149" sldId="267"/>
        </pc:sldMkLst>
        <pc:picChg chg="add mod ord">
          <ac:chgData name="Faris Hussain" userId="d4328be27e109393" providerId="LiveId" clId="{B69C0F05-B035-429A-BB58-D5FF37083A66}" dt="2024-07-09T06:09:57.626" v="96" actId="167"/>
          <ac:picMkLst>
            <pc:docMk/>
            <pc:sldMk cId="4033721149" sldId="267"/>
            <ac:picMk id="13" creationId="{1BB5CA0E-CA6E-999B-6581-49688CD193E2}"/>
          </ac:picMkLst>
        </pc:picChg>
      </pc:sldChg>
      <pc:sldChg chg="addSp delSp modSp mod">
        <pc:chgData name="Faris Hussain" userId="d4328be27e109393" providerId="LiveId" clId="{B69C0F05-B035-429A-BB58-D5FF37083A66}" dt="2024-07-09T06:10:23.777" v="101" actId="26606"/>
        <pc:sldMkLst>
          <pc:docMk/>
          <pc:sldMk cId="3196509862" sldId="268"/>
        </pc:sldMkLst>
        <pc:spChg chg="add del">
          <ac:chgData name="Faris Hussain" userId="d4328be27e109393" providerId="LiveId" clId="{B69C0F05-B035-429A-BB58-D5FF37083A66}" dt="2024-07-09T06:10:23.777" v="101" actId="26606"/>
          <ac:spMkLst>
            <pc:docMk/>
            <pc:sldMk cId="3196509862" sldId="268"/>
            <ac:spMk id="5" creationId="{45EC5F28-81CC-6E8F-3B6E-E516EDD397CC}"/>
          </ac:spMkLst>
        </pc:spChg>
        <pc:graphicFrameChg chg="add del">
          <ac:chgData name="Faris Hussain" userId="d4328be27e109393" providerId="LiveId" clId="{B69C0F05-B035-429A-BB58-D5FF37083A66}" dt="2024-07-09T06:10:19.979" v="99" actId="26606"/>
          <ac:graphicFrameMkLst>
            <pc:docMk/>
            <pc:sldMk cId="3196509862" sldId="268"/>
            <ac:graphicFrameMk id="11268" creationId="{56D22448-EF09-F1B3-6B27-3756F89CF8DD}"/>
          </ac:graphicFrameMkLst>
        </pc:graphicFrameChg>
        <pc:graphicFrameChg chg="add del">
          <ac:chgData name="Faris Hussain" userId="d4328be27e109393" providerId="LiveId" clId="{B69C0F05-B035-429A-BB58-D5FF37083A66}" dt="2024-07-09T06:10:23.777" v="101" actId="26606"/>
          <ac:graphicFrameMkLst>
            <pc:docMk/>
            <pc:sldMk cId="3196509862" sldId="268"/>
            <ac:graphicFrameMk id="11269" creationId="{365AF5B4-935B-42B1-A549-E5134052A02A}"/>
          </ac:graphicFrameMkLst>
        </pc:graphicFrameChg>
        <pc:picChg chg="add mod">
          <ac:chgData name="Faris Hussain" userId="d4328be27e109393" providerId="LiveId" clId="{B69C0F05-B035-429A-BB58-D5FF37083A66}" dt="2024-07-09T06:10:11.747" v="97"/>
          <ac:picMkLst>
            <pc:docMk/>
            <pc:sldMk cId="3196509862" sldId="268"/>
            <ac:picMk id="21" creationId="{87FC7C7B-E4FA-DDB1-9E13-B62BBF3817D0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86F542-87FC-4CA8-A83B-F94A35C5E7BA}" type="datetimeFigureOut">
              <a:rPr lang="en-US" smtClean="0"/>
              <a:t>7/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34E9C8-5E5C-41C2-8AB2-CB7662121A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132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BB78E7-9FC0-46C6-A5A3-AA04B3BC5A4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2984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MDPs</a:t>
            </a:r>
            <a:r>
              <a:rPr lang="en-US" dirty="0"/>
              <a:t> are a theoretical framework for decision-making, assuming complete knowledge of the environment. They are used to define the problem.</a:t>
            </a:r>
          </a:p>
          <a:p>
            <a:r>
              <a:rPr lang="en-US" b="1" dirty="0"/>
              <a:t>Q-learning</a:t>
            </a:r>
            <a:r>
              <a:rPr lang="en-US" dirty="0"/>
              <a:t> is an algorithm that solves the problem defined by MDPs without requiring full knowledge of the environment's dynamics. It learns by interacting with the environment and updating Q-values based on experiences.</a:t>
            </a:r>
          </a:p>
          <a:p>
            <a:endParaRPr lang="en-US" dirty="0"/>
          </a:p>
          <a:p>
            <a:r>
              <a:rPr lang="en-US" b="1" dirty="0"/>
              <a:t>Transition Model</a:t>
            </a:r>
          </a:p>
          <a:p>
            <a:r>
              <a:rPr lang="en-US" b="1" dirty="0"/>
              <a:t>MDPs</a:t>
            </a:r>
            <a:r>
              <a:rPr lang="en-US" dirty="0"/>
              <a:t>: The transition model P(s′∣</a:t>
            </a:r>
            <a:r>
              <a:rPr lang="en-US" dirty="0" err="1"/>
              <a:t>s,a</a:t>
            </a:r>
            <a:r>
              <a:rPr lang="en-US" dirty="0"/>
              <a:t>)P(s'|</a:t>
            </a:r>
            <a:r>
              <a:rPr lang="en-US" dirty="0" err="1"/>
              <a:t>s,a</a:t>
            </a:r>
            <a:r>
              <a:rPr lang="en-US" dirty="0"/>
              <a:t>)P(s′∣</a:t>
            </a:r>
            <a:r>
              <a:rPr lang="en-US" dirty="0" err="1"/>
              <a:t>s,a</a:t>
            </a:r>
            <a:r>
              <a:rPr lang="en-US" dirty="0"/>
              <a:t>) is known and used to compute the expected value.</a:t>
            </a:r>
          </a:p>
          <a:p>
            <a:r>
              <a:rPr lang="en-US" b="1" dirty="0"/>
              <a:t>Q-learning</a:t>
            </a:r>
            <a:r>
              <a:rPr lang="en-US" dirty="0"/>
              <a:t>: The transition model is not known. The algorithm estimates values based on observed transitio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4E9C8-5E5C-41C2-8AB2-CB7662121A2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0449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The agent is the</a:t>
            </a:r>
            <a:r>
              <a:rPr lang="en-US" baseline="0" dirty="0"/>
              <a:t> student here like me.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The goal is the exam.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And huddle or blocker is the de-registration from the exa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4E9C8-5E5C-41C2-8AB2-CB7662121A2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395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Keep the Goal Reward Constant = 100</a:t>
            </a:r>
          </a:p>
          <a:p>
            <a:pPr marL="171450" indent="-171450">
              <a:buFontTx/>
              <a:buChar char="-"/>
            </a:pPr>
            <a:r>
              <a:rPr lang="en-US" dirty="0"/>
              <a:t>Blocker Reward</a:t>
            </a:r>
            <a:r>
              <a:rPr lang="en-US" baseline="0" dirty="0"/>
              <a:t> = 0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And keep changing Episode logarithmical.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To see on which episode my agent get learned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4E9C8-5E5C-41C2-8AB2-CB7662121A2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5690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fter Blocker set</a:t>
            </a:r>
            <a:r>
              <a:rPr lang="en-US" baseline="0" dirty="0"/>
              <a:t> at -50 or more most of the grid I get the valu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4E9C8-5E5C-41C2-8AB2-CB7662121A2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3922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 changing</a:t>
            </a:r>
            <a:r>
              <a:rPr lang="en-US" baseline="0" dirty="0"/>
              <a:t> epsilon from 1 to 0.1 for Blocker Reward = -50 make it similar to Blocker Reward 0 and -1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4E9C8-5E5C-41C2-8AB2-CB7662121A2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2931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4E9C8-5E5C-41C2-8AB2-CB7662121A2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267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CAE7F-A29B-FB4F-D5E3-AED4202A01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488441-5525-1D7F-4CFB-68A3F093D2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3808DE-A504-1855-CFEC-0033A277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A39A8-0D08-48AF-B83F-8773DB00075D}" type="datetimeFigureOut">
              <a:rPr lang="en-US" smtClean="0"/>
              <a:t>7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73FE-5ED3-A3C9-4A72-724D0F55A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CBBE8C-7DFA-77AD-AF83-08682125D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47D88-E02C-469B-A4C9-792EC99F3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363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999108-A188-62AE-F38F-8A6642FD8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777274-9854-E1AB-59FC-EC020D528A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22ABB0-146D-EB2A-5C62-CA2F15103D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A39A8-0D08-48AF-B83F-8773DB00075D}" type="datetimeFigureOut">
              <a:rPr lang="en-US" smtClean="0"/>
              <a:t>7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E93571-5BB4-D9C9-C239-48C5D227D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038018-11F0-DFF9-B7E6-09E84BA1C5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47D88-E02C-469B-A4C9-792EC99F3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28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00A526D-C32E-8A25-F90B-B482A0176C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AB31A2D-505D-31A3-7821-3C26DDE8E6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5E7BB6-1980-CE9B-5A2F-F25A3E778F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A39A8-0D08-48AF-B83F-8773DB00075D}" type="datetimeFigureOut">
              <a:rPr lang="en-US" smtClean="0"/>
              <a:t>7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5739C3-AD4F-76F1-6603-083394E1B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EC66A-86CC-A477-A77A-02C6B2D82B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47D88-E02C-469B-A4C9-792EC99F3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588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000" y="3582391"/>
            <a:ext cx="6134100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l">
              <a:lnSpc>
                <a:spcPct val="80000"/>
              </a:lnSpc>
              <a:buNone/>
              <a:defRPr sz="3800" b="1" i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Willkommen an der</a:t>
            </a:r>
          </a:p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Technischen Hochschule Ingolstadt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 b="1">
                <a:solidFill>
                  <a:srgbClr val="00599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9001" y="5440363"/>
            <a:ext cx="6311900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2800" b="0" i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7881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0FEC9-5420-2B51-FA90-DBB1D1CA4B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DB760-5508-DD05-1254-8596D80525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F6B0B6-412E-18CE-608B-0672E72C5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A39A8-0D08-48AF-B83F-8773DB00075D}" type="datetimeFigureOut">
              <a:rPr lang="en-US" smtClean="0"/>
              <a:t>7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74341B-A4F7-8F2C-473E-EB610AB6E6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CA1F2E-70B8-38B0-8BF5-B43901893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47D88-E02C-469B-A4C9-792EC99F3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2058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2B5E47-9FEE-BB33-D619-744FB5E3A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C0994D-92B1-F722-8B7E-A1B9C20C70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601EC4-A86F-0537-ADB3-15993AB3F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A39A8-0D08-48AF-B83F-8773DB00075D}" type="datetimeFigureOut">
              <a:rPr lang="en-US" smtClean="0"/>
              <a:t>7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8270BF-7267-6432-8EEC-2303F3E5C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103EBE-9133-E839-7081-33E2E37C1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47D88-E02C-469B-A4C9-792EC99F3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2327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641E2F-46C6-2638-93B8-DCB8CD638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0646E3-26AF-288B-795E-B5B4762EC70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23B692-3E36-ADF9-A98D-FB563C098B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F2C662-28DD-E68E-C865-D4C383D935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A39A8-0D08-48AF-B83F-8773DB00075D}" type="datetimeFigureOut">
              <a:rPr lang="en-US" smtClean="0"/>
              <a:t>7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10B71A-C07C-336B-A635-7D87490FD0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933F1C-50EA-137F-3DC6-B5150D30D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47D88-E02C-469B-A4C9-792EC99F3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7460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51ED70-CF20-FD52-ADFF-5452473CD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DA984E-B8EA-F000-BAEC-D51E691E92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B294AB-B50E-42AF-37CC-E5F1DF5CA5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54F34F-7E62-EAFA-0701-286436C3F7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3E1A2BA-B4E8-23D6-B523-76D4B50551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CBD1514-2516-32BF-8391-78DB8847DD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A39A8-0D08-48AF-B83F-8773DB00075D}" type="datetimeFigureOut">
              <a:rPr lang="en-US" smtClean="0"/>
              <a:t>7/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9CDDC6D-9527-7348-9868-A6E6284D9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A297AD-7F6B-ADF5-123F-5DCDADE140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47D88-E02C-469B-A4C9-792EC99F3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5330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F10251-0EBB-2E40-DAEE-F959437BB1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5C7DAA-3F9C-BB98-F964-021A38CF31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A39A8-0D08-48AF-B83F-8773DB00075D}" type="datetimeFigureOut">
              <a:rPr lang="en-US" smtClean="0"/>
              <a:t>7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17A38D-5092-0512-FEE0-62AEED28E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6FF9F5-B0CE-84DA-2EE2-D823CB948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47D88-E02C-469B-A4C9-792EC99F3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9488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DB19AC-C3B2-3583-EC65-60AEFB1A6F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A39A8-0D08-48AF-B83F-8773DB00075D}" type="datetimeFigureOut">
              <a:rPr lang="en-US" smtClean="0"/>
              <a:t>7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34BDB5-00C3-6953-D676-C9D4F0F203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1F38A5-4614-E3A1-82B7-3C1AFC2CC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47D88-E02C-469B-A4C9-792EC99F3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1714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A5F8F7-08D7-1713-F3E9-4FE47AC2B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F063D8-FA18-7DC2-4166-9735793FEB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8310C0-5989-A4F3-6B27-4FD10E473E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31DD16-81BB-4545-1737-A3D18B0EE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A39A8-0D08-48AF-B83F-8773DB00075D}" type="datetimeFigureOut">
              <a:rPr lang="en-US" smtClean="0"/>
              <a:t>7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113E5-D610-39D0-A8B1-31D869AD1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6C4D76-C32F-3934-6E38-A348F3739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47D88-E02C-469B-A4C9-792EC99F3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1394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ADF34A-4D77-55CC-ACC6-5608FAADF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4AFE46-E715-A4A0-84FD-C7D3ADC6A1C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BE1C5-36FF-3316-0B02-4E2627619B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A904B6-4B6F-F09E-624C-A0C60D1E1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A39A8-0D08-48AF-B83F-8773DB00075D}" type="datetimeFigureOut">
              <a:rPr lang="en-US" smtClean="0"/>
              <a:t>7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564844-0071-D84E-0BCF-1E2B543D9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9C5141-E4B9-DE9B-0FB0-FD8CB192C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47D88-E02C-469B-A4C9-792EC99F3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3418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9ACD18-8155-FB48-2DA3-E4FC81907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85160C-D6FF-6E17-4199-422D5AE672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FA2CBC-3390-7A73-E45B-9FF5C10B63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75A39A8-0D08-48AF-B83F-8773DB00075D}" type="datetimeFigureOut">
              <a:rPr lang="en-US" smtClean="0"/>
              <a:t>7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502311-AF26-B9D0-E746-19E9C32D49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CC3F08-97FA-2592-3DC8-E122E29B0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1C47D88-E02C-469B-A4C9-792EC99F3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338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9E5155-9253-EBF8-86B8-2AC7A14C6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150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9E5155-9253-EBF8-86B8-2AC7A14C6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 descr="Ein Bild, das Text enthält.&#10;&#10;Automatisch generierte Beschreibung">
            <a:extLst>
              <a:ext uri="{FF2B5EF4-FFF2-40B4-BE49-F238E27FC236}">
                <a16:creationId xmlns:a16="http://schemas.microsoft.com/office/drawing/2014/main" id="{B4A9B2F0-3FEC-5503-6AB9-6A9A08D98B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0864" y="473284"/>
            <a:ext cx="3220152" cy="1416107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C4B237F-1D3E-5D6E-2340-BBADACC6DE4B}"/>
              </a:ext>
            </a:extLst>
          </p:cNvPr>
          <p:cNvGrpSpPr/>
          <p:nvPr userDrawn="1"/>
        </p:nvGrpSpPr>
        <p:grpSpPr>
          <a:xfrm>
            <a:off x="-990690" y="1772087"/>
            <a:ext cx="10849815" cy="6178838"/>
            <a:chOff x="-13375759" y="5567763"/>
            <a:chExt cx="10849815" cy="617883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8DB640FA-9CF3-32D3-C002-A98F1AE2B61D}"/>
                </a:ext>
              </a:extLst>
            </p:cNvPr>
            <p:cNvSpPr/>
            <p:nvPr/>
          </p:nvSpPr>
          <p:spPr>
            <a:xfrm rot="900000">
              <a:off x="-13375759" y="5567763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0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hteck 3">
              <a:extLst>
                <a:ext uri="{FF2B5EF4-FFF2-40B4-BE49-F238E27FC236}">
                  <a16:creationId xmlns:a16="http://schemas.microsoft.com/office/drawing/2014/main" id="{7FBA1A7C-1D52-055F-6AA8-6300F602C51C}"/>
                </a:ext>
              </a:extLst>
            </p:cNvPr>
            <p:cNvSpPr/>
            <p:nvPr/>
          </p:nvSpPr>
          <p:spPr>
            <a:xfrm rot="900000">
              <a:off x="-13375759" y="5567765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99C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8145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i="1" kern="1200" baseline="0">
          <a:solidFill>
            <a:srgbClr val="00599C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31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7222">
          <p15:clr>
            <a:srgbClr val="F26B43"/>
          </p15:clr>
        </p15:guide>
        <p15:guide id="6" pos="23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moodle.thi.de/course/view.php?id=9517#section-26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524F06F1-EA4C-B9B0-7538-76CF95027C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7209" y="2349939"/>
            <a:ext cx="6134100" cy="1079061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</a:pPr>
            <a:r>
              <a:rPr lang="en-US" dirty="0">
                <a:hlinkClick r:id="rId3" tooltip="Principles of Autonomy and Decision Making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inciples of Autonomy and Decision Making</a:t>
            </a:r>
            <a:endParaRPr lang="en-US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0F9272A-4F44-C60A-5706-628FC11705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8194" y="4004712"/>
            <a:ext cx="7960031" cy="370644"/>
          </a:xfrm>
        </p:spPr>
        <p:txBody>
          <a:bodyPr/>
          <a:lstStyle/>
          <a:p>
            <a:r>
              <a:rPr lang="de-DE" dirty="0"/>
              <a:t>Student Name:   Faris Hussai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531D08A-4609-6F0B-C88A-9BBF9E0FAC71}"/>
              </a:ext>
            </a:extLst>
          </p:cNvPr>
          <p:cNvSpPr txBox="1"/>
          <p:nvPr/>
        </p:nvSpPr>
        <p:spPr>
          <a:xfrm>
            <a:off x="9334501" y="638085"/>
            <a:ext cx="390524" cy="138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00" b="0" i="0" u="none" strike="noStrike" kern="1200" cap="none" spc="0" normalizeH="0" baseline="0" noProof="0" dirty="0">
                <a:ln>
                  <a:noFill/>
                </a:ln>
                <a:solidFill>
                  <a:srgbClr val="005A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06.2024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E452D6-7B24-6070-9C23-0AD86C7A884A}"/>
              </a:ext>
            </a:extLst>
          </p:cNvPr>
          <p:cNvSpPr txBox="1"/>
          <p:nvPr/>
        </p:nvSpPr>
        <p:spPr>
          <a:xfrm>
            <a:off x="3642278" y="5659484"/>
            <a:ext cx="6082747" cy="560432"/>
          </a:xfrm>
          <a:prstGeom prst="rect">
            <a:avLst/>
          </a:prstGeom>
        </p:spPr>
        <p:txBody>
          <a:bodyPr lIns="0" tIns="0" rIns="0">
            <a:normAutofit fontScale="77500" lnSpcReduction="20000"/>
          </a:bodyPr>
          <a:lstStyle>
            <a:lvl1pPr indent="0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800" b="1" i="0">
                <a:solidFill>
                  <a:schemeClr val="bg1"/>
                </a:solidFill>
                <a:latin typeface="+mj-lt"/>
              </a:defRPr>
            </a:lvl1pPr>
            <a:lvl2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/>
            </a:lvl2pPr>
            <a:lvl3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3pPr>
            <a:lvl4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4pPr>
            <a:lvl5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cturer: Chidvilas Karpenahalli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38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771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B796EA0-E033-1EFC-F0C2-056B89F688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859" y="3899398"/>
            <a:ext cx="3750317" cy="709391"/>
          </a:xfrm>
        </p:spPr>
        <p:txBody>
          <a:bodyPr>
            <a:normAutofit/>
          </a:bodyPr>
          <a:lstStyle/>
          <a:p>
            <a:r>
              <a:rPr lang="de-DE" sz="3000" b="1" u="sng" dirty="0">
                <a:solidFill>
                  <a:srgbClr val="00599C"/>
                </a:solidFill>
                <a:latin typeface="TSTAR" panose="020B0604020202020204" charset="0"/>
              </a:rPr>
              <a:t>Conclusion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1D9EC5-5CA1-9AFB-899F-DB2A1EAEAD5E}"/>
              </a:ext>
            </a:extLst>
          </p:cNvPr>
          <p:cNvSpPr txBox="1"/>
          <p:nvPr/>
        </p:nvSpPr>
        <p:spPr>
          <a:xfrm>
            <a:off x="1093385" y="1314075"/>
            <a:ext cx="775252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ython OOPs coding methodolog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etting the code of q-learning in my own environmen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ore Area can be covere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Boundary condition like giving negative reward on boundari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Having more than one power-up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Having negative reward on goal if it doesn’t collect power-ups.</a:t>
            </a:r>
          </a:p>
        </p:txBody>
      </p:sp>
      <p:sp>
        <p:nvSpPr>
          <p:cNvPr id="6" name="Titel 3">
            <a:extLst>
              <a:ext uri="{FF2B5EF4-FFF2-40B4-BE49-F238E27FC236}">
                <a16:creationId xmlns:a16="http://schemas.microsoft.com/office/drawing/2014/main" id="{50C97AF9-C358-F476-431E-88AEF5DCF79A}"/>
              </a:ext>
            </a:extLst>
          </p:cNvPr>
          <p:cNvSpPr txBox="1">
            <a:spLocks/>
          </p:cNvSpPr>
          <p:nvPr/>
        </p:nvSpPr>
        <p:spPr>
          <a:xfrm>
            <a:off x="992859" y="572366"/>
            <a:ext cx="3750317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rgbClr val="00599C"/>
                </a:solidFill>
                <a:latin typeface="TSTAR" panose="020B0604020202020204" charset="0"/>
                <a:ea typeface="+mj-ea"/>
                <a:cs typeface="+mj-cs"/>
              </a:defRPr>
            </a:lvl1pPr>
          </a:lstStyle>
          <a:p>
            <a:r>
              <a:rPr lang="de-DE" u="sng" dirty="0"/>
              <a:t>Problems faced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31918B-5CE3-29B1-F668-0A5F6D77B1DA}"/>
              </a:ext>
            </a:extLst>
          </p:cNvPr>
          <p:cNvSpPr txBox="1"/>
          <p:nvPr/>
        </p:nvSpPr>
        <p:spPr>
          <a:xfrm>
            <a:off x="1265581" y="4608789"/>
            <a:ext cx="775252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Learned Pyth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Learned about autonomy and decision mak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Learned how to build a custom environ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Learned how to train an agent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3F0D1C1-1ECE-61BA-7D7B-4EF3CECC7E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76873" y="62940"/>
            <a:ext cx="777307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7887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5EC5F28-81CC-6E8F-3B6E-E516EDD397CC}"/>
              </a:ext>
            </a:extLst>
          </p:cNvPr>
          <p:cNvSpPr txBox="1"/>
          <p:nvPr/>
        </p:nvSpPr>
        <p:spPr>
          <a:xfrm>
            <a:off x="630937" y="2992897"/>
            <a:ext cx="6846600" cy="2582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 b="1" dirty="0">
                <a:cs typeface="Arial" panose="020B0604020202020204" pitchFamily="34" charset="0"/>
              </a:rPr>
              <a:t>Custom environment of PADM student scenario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 b="1" dirty="0">
                <a:cs typeface="Arial" panose="020B0604020202020204" pitchFamily="34" charset="0"/>
              </a:rPr>
              <a:t>Adapt the Q-learning agent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 b="1" dirty="0">
                <a:cs typeface="Arial" panose="020B0604020202020204" pitchFamily="34" charset="0"/>
              </a:rPr>
              <a:t>Exploration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 b="1" dirty="0">
                <a:cs typeface="Arial" panose="020B0604020202020204" pitchFamily="34" charset="0"/>
              </a:rPr>
              <a:t>Exploitation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 b="1" dirty="0">
                <a:cs typeface="Arial" panose="020B0604020202020204" pitchFamily="34" charset="0"/>
              </a:rPr>
              <a:t>Q-table.  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7862C0-74E5-D92E-255A-8D51F657BA96}"/>
              </a:ext>
            </a:extLst>
          </p:cNvPr>
          <p:cNvSpPr txBox="1"/>
          <p:nvPr/>
        </p:nvSpPr>
        <p:spPr>
          <a:xfrm>
            <a:off x="630937" y="1988981"/>
            <a:ext cx="59271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0" cap="none" spc="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uild and train Q-learning Agent</a:t>
            </a:r>
            <a:endParaRPr lang="en-US" sz="2800" b="0" cap="none" spc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04EF16A-5C2C-00F8-FADD-271F92F340D1}"/>
              </a:ext>
            </a:extLst>
          </p:cNvPr>
          <p:cNvCxnSpPr>
            <a:cxnSpLocks/>
          </p:cNvCxnSpPr>
          <p:nvPr/>
        </p:nvCxnSpPr>
        <p:spPr>
          <a:xfrm>
            <a:off x="0" y="2535410"/>
            <a:ext cx="641063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266" name="Picture 2" descr="Q-learning - Naukri Code 360">
            <a:extLst>
              <a:ext uri="{FF2B5EF4-FFF2-40B4-BE49-F238E27FC236}">
                <a16:creationId xmlns:a16="http://schemas.microsoft.com/office/drawing/2014/main" id="{1588C3C8-E71C-F18A-DE6B-34522344BB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3798793"/>
            <a:ext cx="5696895" cy="2195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7FC7C7B-E4FA-DDB1-9E13-B62BBF3817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76873" y="62940"/>
            <a:ext cx="777307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5098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EC18BAF-6376-C2B4-0E56-D2E5CCDC3B74}"/>
              </a:ext>
            </a:extLst>
          </p:cNvPr>
          <p:cNvSpPr/>
          <p:nvPr/>
        </p:nvSpPr>
        <p:spPr>
          <a:xfrm>
            <a:off x="630935" y="2807208"/>
            <a:ext cx="3901735" cy="34107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4572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tudent (Agent)</a:t>
            </a:r>
          </a:p>
          <a:p>
            <a:pPr marL="4572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0" cap="none" spc="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xam (Goal)</a:t>
            </a:r>
          </a:p>
          <a:p>
            <a:pPr marL="4572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e-Registration (Blocker)</a:t>
            </a:r>
            <a:endParaRPr lang="en-US" sz="2200" b="0" cap="none" spc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F20F1BA-FAB6-7171-22F4-154319332455}"/>
              </a:ext>
            </a:extLst>
          </p:cNvPr>
          <p:cNvSpPr txBox="1"/>
          <p:nvPr/>
        </p:nvSpPr>
        <p:spPr>
          <a:xfrm>
            <a:off x="630936" y="1988981"/>
            <a:ext cx="32674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0" cap="none" spc="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nvironment</a:t>
            </a:r>
            <a:endParaRPr lang="en-US" sz="2800" b="0" cap="none" spc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944E03-E313-34E2-4D66-D8A58017738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623" t="8067" r="16490" b="4441"/>
          <a:stretch/>
        </p:blipFill>
        <p:spPr>
          <a:xfrm>
            <a:off x="5464458" y="231037"/>
            <a:ext cx="6430051" cy="639592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3EC1F76-CFB3-C3B4-A6AD-232A3C51AA6F}"/>
              </a:ext>
            </a:extLst>
          </p:cNvPr>
          <p:cNvCxnSpPr>
            <a:cxnSpLocks/>
          </p:cNvCxnSpPr>
          <p:nvPr/>
        </p:nvCxnSpPr>
        <p:spPr>
          <a:xfrm>
            <a:off x="0" y="2535410"/>
            <a:ext cx="4916129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8EABE0-85ED-1205-C634-075D48D651F5}"/>
              </a:ext>
            </a:extLst>
          </p:cNvPr>
          <p:cNvCxnSpPr>
            <a:cxnSpLocks/>
          </p:cNvCxnSpPr>
          <p:nvPr/>
        </p:nvCxnSpPr>
        <p:spPr>
          <a:xfrm>
            <a:off x="4916129" y="0"/>
            <a:ext cx="0" cy="68580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2139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>
            <a:extLst>
              <a:ext uri="{FF2B5EF4-FFF2-40B4-BE49-F238E27FC236}">
                <a16:creationId xmlns:a16="http://schemas.microsoft.com/office/drawing/2014/main" id="{550F76A3-BBF7-FB85-49CE-433DA761C9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8" b="3461"/>
          <a:stretch/>
        </p:blipFill>
        <p:spPr bwMode="auto">
          <a:xfrm>
            <a:off x="19896" y="1113994"/>
            <a:ext cx="6027632" cy="1626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5" name="Picture 5">
            <a:extLst>
              <a:ext uri="{FF2B5EF4-FFF2-40B4-BE49-F238E27FC236}">
                <a16:creationId xmlns:a16="http://schemas.microsoft.com/office/drawing/2014/main" id="{EE34FC6E-59CD-2552-B71F-ADF796D075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0" b="3875"/>
          <a:stretch/>
        </p:blipFill>
        <p:spPr bwMode="auto">
          <a:xfrm>
            <a:off x="6139709" y="1133965"/>
            <a:ext cx="6027631" cy="1586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13B014C5-4644-04E8-3750-2B30BC7A4B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78" b="4792"/>
          <a:stretch/>
        </p:blipFill>
        <p:spPr bwMode="auto">
          <a:xfrm>
            <a:off x="19894" y="4202176"/>
            <a:ext cx="6027634" cy="1595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7" name="Picture 7">
            <a:extLst>
              <a:ext uri="{FF2B5EF4-FFF2-40B4-BE49-F238E27FC236}">
                <a16:creationId xmlns:a16="http://schemas.microsoft.com/office/drawing/2014/main" id="{953EA8F7-EB18-73DA-447B-624C350996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4944" y="4202176"/>
            <a:ext cx="6037056" cy="1595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D1F074-59BF-2E43-CCC3-8BF5C46D0646}"/>
              </a:ext>
            </a:extLst>
          </p:cNvPr>
          <p:cNvCxnSpPr>
            <a:cxnSpLocks/>
          </p:cNvCxnSpPr>
          <p:nvPr/>
        </p:nvCxnSpPr>
        <p:spPr>
          <a:xfrm>
            <a:off x="6096000" y="650240"/>
            <a:ext cx="0" cy="62077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846A771-8D56-B017-026A-2CB866EEE225}"/>
              </a:ext>
            </a:extLst>
          </p:cNvPr>
          <p:cNvCxnSpPr>
            <a:cxnSpLocks/>
          </p:cNvCxnSpPr>
          <p:nvPr/>
        </p:nvCxnSpPr>
        <p:spPr>
          <a:xfrm flipV="1">
            <a:off x="0" y="3359605"/>
            <a:ext cx="12192000" cy="400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4387CD8D-0414-CEBA-D8E5-D7D1253FAB95}"/>
              </a:ext>
            </a:extLst>
          </p:cNvPr>
          <p:cNvSpPr txBox="1"/>
          <p:nvPr/>
        </p:nvSpPr>
        <p:spPr>
          <a:xfrm>
            <a:off x="10428376" y="3030597"/>
            <a:ext cx="17636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pisode = 5,00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688C7B-3DC6-0411-9BD3-08D32FA9E3DF}"/>
              </a:ext>
            </a:extLst>
          </p:cNvPr>
          <p:cNvSpPr txBox="1"/>
          <p:nvPr/>
        </p:nvSpPr>
        <p:spPr>
          <a:xfrm>
            <a:off x="0" y="2989985"/>
            <a:ext cx="15744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pisode = 50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D6E796-4066-3EE6-AB61-16BE3A969478}"/>
              </a:ext>
            </a:extLst>
          </p:cNvPr>
          <p:cNvSpPr txBox="1"/>
          <p:nvPr/>
        </p:nvSpPr>
        <p:spPr>
          <a:xfrm>
            <a:off x="10181513" y="3439306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pisode = 500,00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CF62F2-114A-7092-EBD0-75B3FBAEEC56}"/>
              </a:ext>
            </a:extLst>
          </p:cNvPr>
          <p:cNvSpPr txBox="1"/>
          <p:nvPr/>
        </p:nvSpPr>
        <p:spPr>
          <a:xfrm>
            <a:off x="0" y="3436933"/>
            <a:ext cx="18870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pisode = 50,00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E12B4E0-4654-3F69-3C85-8E27F7D69851}"/>
              </a:ext>
            </a:extLst>
          </p:cNvPr>
          <p:cNvSpPr txBox="1"/>
          <p:nvPr/>
        </p:nvSpPr>
        <p:spPr>
          <a:xfrm>
            <a:off x="8207640" y="328143"/>
            <a:ext cx="3984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oal Reward = 100 Blocker Reward = 0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7440D6B-9270-3404-41C3-6E2172E3A83E}"/>
              </a:ext>
            </a:extLst>
          </p:cNvPr>
          <p:cNvCxnSpPr>
            <a:cxnSpLocks/>
          </p:cNvCxnSpPr>
          <p:nvPr/>
        </p:nvCxnSpPr>
        <p:spPr>
          <a:xfrm flipV="1">
            <a:off x="0" y="630222"/>
            <a:ext cx="12192000" cy="400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CFB638B3-B107-F33D-D8E9-E8B62316DD98}"/>
              </a:ext>
            </a:extLst>
          </p:cNvPr>
          <p:cNvSpPr txBox="1"/>
          <p:nvPr/>
        </p:nvSpPr>
        <p:spPr>
          <a:xfrm>
            <a:off x="162045" y="147038"/>
            <a:ext cx="42007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ase I: Episodes Changes</a:t>
            </a:r>
          </a:p>
        </p:txBody>
      </p:sp>
    </p:spTree>
    <p:extLst>
      <p:ext uri="{BB962C8B-B14F-4D97-AF65-F5344CB8AC3E}">
        <p14:creationId xmlns:p14="http://schemas.microsoft.com/office/powerpoint/2010/main" val="8496407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D1F074-59BF-2E43-CCC3-8BF5C46D0646}"/>
              </a:ext>
            </a:extLst>
          </p:cNvPr>
          <p:cNvCxnSpPr>
            <a:cxnSpLocks/>
          </p:cNvCxnSpPr>
          <p:nvPr/>
        </p:nvCxnSpPr>
        <p:spPr>
          <a:xfrm>
            <a:off x="6096000" y="650240"/>
            <a:ext cx="0" cy="62077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846A771-8D56-B017-026A-2CB866EEE225}"/>
              </a:ext>
            </a:extLst>
          </p:cNvPr>
          <p:cNvCxnSpPr>
            <a:cxnSpLocks/>
          </p:cNvCxnSpPr>
          <p:nvPr/>
        </p:nvCxnSpPr>
        <p:spPr>
          <a:xfrm flipV="1">
            <a:off x="0" y="3408982"/>
            <a:ext cx="12192000" cy="400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E12B4E0-4654-3F69-3C85-8E27F7D69851}"/>
              </a:ext>
            </a:extLst>
          </p:cNvPr>
          <p:cNvSpPr txBox="1"/>
          <p:nvPr/>
        </p:nvSpPr>
        <p:spPr>
          <a:xfrm>
            <a:off x="8274902" y="300926"/>
            <a:ext cx="39170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oal Reward = 100 Episode = 500,000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7440D6B-9270-3404-41C3-6E2172E3A83E}"/>
              </a:ext>
            </a:extLst>
          </p:cNvPr>
          <p:cNvCxnSpPr>
            <a:cxnSpLocks/>
          </p:cNvCxnSpPr>
          <p:nvPr/>
        </p:nvCxnSpPr>
        <p:spPr>
          <a:xfrm flipV="1">
            <a:off x="0" y="630222"/>
            <a:ext cx="12192000" cy="400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169" name="Picture 25">
            <a:extLst>
              <a:ext uri="{FF2B5EF4-FFF2-40B4-BE49-F238E27FC236}">
                <a16:creationId xmlns:a16="http://schemas.microsoft.com/office/drawing/2014/main" id="{4B3704AB-8D56-6D52-A9F5-C3741AD7A6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" t="1281" b="649"/>
          <a:stretch/>
        </p:blipFill>
        <p:spPr bwMode="auto">
          <a:xfrm>
            <a:off x="1730964" y="1966718"/>
            <a:ext cx="4336026" cy="1132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70" name="Picture 26">
            <a:extLst>
              <a:ext uri="{FF2B5EF4-FFF2-40B4-BE49-F238E27FC236}">
                <a16:creationId xmlns:a16="http://schemas.microsoft.com/office/drawing/2014/main" id="{607E86BF-AB4D-8AF6-8C9D-E4BC17C12A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" t="1272" b="971"/>
          <a:stretch/>
        </p:blipFill>
        <p:spPr bwMode="auto">
          <a:xfrm>
            <a:off x="6152218" y="1179870"/>
            <a:ext cx="5961126" cy="1563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71" name="Picture 27">
            <a:extLst>
              <a:ext uri="{FF2B5EF4-FFF2-40B4-BE49-F238E27FC236}">
                <a16:creationId xmlns:a16="http://schemas.microsoft.com/office/drawing/2014/main" id="{90C92C29-3581-190C-AA73-BFE7113A53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2" t="2820" r="519" b="2439"/>
          <a:stretch/>
        </p:blipFill>
        <p:spPr bwMode="auto">
          <a:xfrm>
            <a:off x="58992" y="4167611"/>
            <a:ext cx="5984471" cy="1582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72" name="Picture 28">
            <a:extLst>
              <a:ext uri="{FF2B5EF4-FFF2-40B4-BE49-F238E27FC236}">
                <a16:creationId xmlns:a16="http://schemas.microsoft.com/office/drawing/2014/main" id="{2AD39D29-2FC2-5426-4930-F9E9CC8038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"/>
          <a:stretch/>
        </p:blipFill>
        <p:spPr bwMode="auto">
          <a:xfrm>
            <a:off x="6125011" y="3691877"/>
            <a:ext cx="5195441" cy="134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387EBFC-94E2-C0F3-3534-0448B3AE1C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42943" y="5177633"/>
            <a:ext cx="5195442" cy="1375343"/>
          </a:xfrm>
          <a:prstGeom prst="rect">
            <a:avLst/>
          </a:prstGeom>
        </p:spPr>
      </p:pic>
      <p:pic>
        <p:nvPicPr>
          <p:cNvPr id="4" name="Picture 7">
            <a:extLst>
              <a:ext uri="{FF2B5EF4-FFF2-40B4-BE49-F238E27FC236}">
                <a16:creationId xmlns:a16="http://schemas.microsoft.com/office/drawing/2014/main" id="{C14ABC4E-26D9-1E38-E00F-F431E583C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9" y="727666"/>
            <a:ext cx="4358927" cy="1152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E9DC5DA-D51E-9450-384F-32C7619D9857}"/>
              </a:ext>
            </a:extLst>
          </p:cNvPr>
          <p:cNvSpPr txBox="1"/>
          <p:nvPr/>
        </p:nvSpPr>
        <p:spPr>
          <a:xfrm>
            <a:off x="4302881" y="640713"/>
            <a:ext cx="18655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locker Reward = 0</a:t>
            </a:r>
            <a:endParaRPr lang="en-US" sz="1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69A00A-A11C-8508-90DA-D2AFC4484E74}"/>
              </a:ext>
            </a:extLst>
          </p:cNvPr>
          <p:cNvSpPr txBox="1"/>
          <p:nvPr/>
        </p:nvSpPr>
        <p:spPr>
          <a:xfrm>
            <a:off x="0" y="3076760"/>
            <a:ext cx="20296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locker Reward = -10</a:t>
            </a:r>
            <a:endParaRPr lang="en-US" sz="1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7688A7-C5ED-E60D-3DE0-AB6A9BA78820}"/>
              </a:ext>
            </a:extLst>
          </p:cNvPr>
          <p:cNvSpPr txBox="1"/>
          <p:nvPr/>
        </p:nvSpPr>
        <p:spPr>
          <a:xfrm>
            <a:off x="10132601" y="3025239"/>
            <a:ext cx="20451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locker Reward = -50</a:t>
            </a:r>
            <a:endParaRPr lang="en-US" sz="1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CDCD27-CB5D-87F4-2764-56BABF57E4E2}"/>
              </a:ext>
            </a:extLst>
          </p:cNvPr>
          <p:cNvSpPr txBox="1"/>
          <p:nvPr/>
        </p:nvSpPr>
        <p:spPr>
          <a:xfrm>
            <a:off x="10058101" y="3373754"/>
            <a:ext cx="21386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locker Reward = -150</a:t>
            </a:r>
            <a:endParaRPr lang="en-US" sz="1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DD9E469-3102-662D-2A3F-3754FF631FEF}"/>
              </a:ext>
            </a:extLst>
          </p:cNvPr>
          <p:cNvSpPr txBox="1"/>
          <p:nvPr/>
        </p:nvSpPr>
        <p:spPr>
          <a:xfrm>
            <a:off x="6102007" y="6531311"/>
            <a:ext cx="21541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locker Reward = -200</a:t>
            </a:r>
            <a:endParaRPr lang="en-US" sz="1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BE74331-A40D-60AC-2964-8B38622A10F5}"/>
              </a:ext>
            </a:extLst>
          </p:cNvPr>
          <p:cNvSpPr txBox="1"/>
          <p:nvPr/>
        </p:nvSpPr>
        <p:spPr>
          <a:xfrm>
            <a:off x="0" y="6540309"/>
            <a:ext cx="21386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locker Reward = -100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55B3E86-A731-3B1F-5B79-2688142A0799}"/>
              </a:ext>
            </a:extLst>
          </p:cNvPr>
          <p:cNvSpPr txBox="1"/>
          <p:nvPr/>
        </p:nvSpPr>
        <p:spPr>
          <a:xfrm>
            <a:off x="176491" y="133293"/>
            <a:ext cx="40398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ase II: Blocker Changes</a:t>
            </a:r>
          </a:p>
        </p:txBody>
      </p:sp>
    </p:spTree>
    <p:extLst>
      <p:ext uri="{BB962C8B-B14F-4D97-AF65-F5344CB8AC3E}">
        <p14:creationId xmlns:p14="http://schemas.microsoft.com/office/powerpoint/2010/main" val="40406104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D1F074-59BF-2E43-CCC3-8BF5C46D0646}"/>
              </a:ext>
            </a:extLst>
          </p:cNvPr>
          <p:cNvCxnSpPr>
            <a:cxnSpLocks/>
          </p:cNvCxnSpPr>
          <p:nvPr/>
        </p:nvCxnSpPr>
        <p:spPr>
          <a:xfrm>
            <a:off x="6096000" y="3543031"/>
            <a:ext cx="0" cy="331496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846A771-8D56-B017-026A-2CB866EEE225}"/>
              </a:ext>
            </a:extLst>
          </p:cNvPr>
          <p:cNvCxnSpPr>
            <a:cxnSpLocks/>
          </p:cNvCxnSpPr>
          <p:nvPr/>
        </p:nvCxnSpPr>
        <p:spPr>
          <a:xfrm flipV="1">
            <a:off x="-33127" y="3523013"/>
            <a:ext cx="12192000" cy="400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E12B4E0-4654-3F69-3C85-8E27F7D69851}"/>
              </a:ext>
            </a:extLst>
          </p:cNvPr>
          <p:cNvSpPr txBox="1"/>
          <p:nvPr/>
        </p:nvSpPr>
        <p:spPr>
          <a:xfrm>
            <a:off x="8274902" y="300926"/>
            <a:ext cx="39170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oal Reward = 100 Episode = 500,000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7440D6B-9270-3404-41C3-6E2172E3A83E}"/>
              </a:ext>
            </a:extLst>
          </p:cNvPr>
          <p:cNvCxnSpPr>
            <a:cxnSpLocks/>
          </p:cNvCxnSpPr>
          <p:nvPr/>
        </p:nvCxnSpPr>
        <p:spPr>
          <a:xfrm flipV="1">
            <a:off x="0" y="630222"/>
            <a:ext cx="12192000" cy="400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169" name="Picture 25">
            <a:extLst>
              <a:ext uri="{FF2B5EF4-FFF2-40B4-BE49-F238E27FC236}">
                <a16:creationId xmlns:a16="http://schemas.microsoft.com/office/drawing/2014/main" id="{4B3704AB-8D56-6D52-A9F5-C3741AD7A6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" t="1281" b="649"/>
          <a:stretch/>
        </p:blipFill>
        <p:spPr bwMode="auto">
          <a:xfrm>
            <a:off x="6131501" y="4279368"/>
            <a:ext cx="6043936" cy="1579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7">
            <a:extLst>
              <a:ext uri="{FF2B5EF4-FFF2-40B4-BE49-F238E27FC236}">
                <a16:creationId xmlns:a16="http://schemas.microsoft.com/office/drawing/2014/main" id="{C14ABC4E-26D9-1E38-E00F-F431E583C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77" y="4279368"/>
            <a:ext cx="5974384" cy="1579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E9DC5DA-D51E-9450-384F-32C7619D9857}"/>
              </a:ext>
            </a:extLst>
          </p:cNvPr>
          <p:cNvSpPr txBox="1"/>
          <p:nvPr/>
        </p:nvSpPr>
        <p:spPr>
          <a:xfrm>
            <a:off x="16563" y="3559645"/>
            <a:ext cx="29267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locker Reward = 0, Epsilon = 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7688A7-C5ED-E60D-3DE0-AB6A9BA78820}"/>
              </a:ext>
            </a:extLst>
          </p:cNvPr>
          <p:cNvSpPr txBox="1"/>
          <p:nvPr/>
        </p:nvSpPr>
        <p:spPr>
          <a:xfrm>
            <a:off x="9059476" y="3563049"/>
            <a:ext cx="31325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locker Reward = -10 , Epsilon = 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CDCD27-CB5D-87F4-2764-56BABF57E4E2}"/>
              </a:ext>
            </a:extLst>
          </p:cNvPr>
          <p:cNvSpPr txBox="1"/>
          <p:nvPr/>
        </p:nvSpPr>
        <p:spPr>
          <a:xfrm>
            <a:off x="4408645" y="3154316"/>
            <a:ext cx="33084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locker Reward = -50, Epsilon = 0.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CFE3B55-C56C-C15D-E02F-759425E007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9344" y="930730"/>
            <a:ext cx="7933312" cy="211555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535DBC6-9C38-CF5D-DEF7-7F94F708E91B}"/>
              </a:ext>
            </a:extLst>
          </p:cNvPr>
          <p:cNvSpPr txBox="1"/>
          <p:nvPr/>
        </p:nvSpPr>
        <p:spPr>
          <a:xfrm>
            <a:off x="196769" y="147038"/>
            <a:ext cx="411099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ase III: Epsilon Changes</a:t>
            </a:r>
          </a:p>
        </p:txBody>
      </p:sp>
    </p:spTree>
    <p:extLst>
      <p:ext uri="{BB962C8B-B14F-4D97-AF65-F5344CB8AC3E}">
        <p14:creationId xmlns:p14="http://schemas.microsoft.com/office/powerpoint/2010/main" val="506536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EC18BAF-6376-C2B4-0E56-D2E5CCDC3B74}"/>
              </a:ext>
            </a:extLst>
          </p:cNvPr>
          <p:cNvSpPr/>
          <p:nvPr/>
        </p:nvSpPr>
        <p:spPr>
          <a:xfrm>
            <a:off x="630935" y="2807208"/>
            <a:ext cx="3901735" cy="34107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4572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tudent (Agent)</a:t>
            </a:r>
          </a:p>
          <a:p>
            <a:pPr marL="4572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0" cap="none" spc="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xam (Goal)</a:t>
            </a:r>
          </a:p>
          <a:p>
            <a:pPr marL="4572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0" cap="none" spc="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ignments (Power-Ups)</a:t>
            </a:r>
          </a:p>
          <a:p>
            <a:pPr marL="4572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0" cap="none" spc="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e-Registration (Blocker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F20F1BA-FAB6-7171-22F4-154319332455}"/>
              </a:ext>
            </a:extLst>
          </p:cNvPr>
          <p:cNvSpPr txBox="1"/>
          <p:nvPr/>
        </p:nvSpPr>
        <p:spPr>
          <a:xfrm>
            <a:off x="630936" y="1988981"/>
            <a:ext cx="32674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0" cap="none" spc="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ith Power-Ups</a:t>
            </a:r>
            <a:endParaRPr lang="en-US" sz="2800" b="0" cap="none" spc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3EC1F76-CFB3-C3B4-A6AD-232A3C51AA6F}"/>
              </a:ext>
            </a:extLst>
          </p:cNvPr>
          <p:cNvCxnSpPr>
            <a:cxnSpLocks/>
          </p:cNvCxnSpPr>
          <p:nvPr/>
        </p:nvCxnSpPr>
        <p:spPr>
          <a:xfrm>
            <a:off x="0" y="2535410"/>
            <a:ext cx="4916129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18EABE0-85ED-1205-C634-075D48D651F5}"/>
              </a:ext>
            </a:extLst>
          </p:cNvPr>
          <p:cNvCxnSpPr>
            <a:cxnSpLocks/>
          </p:cNvCxnSpPr>
          <p:nvPr/>
        </p:nvCxnSpPr>
        <p:spPr>
          <a:xfrm>
            <a:off x="4916129" y="0"/>
            <a:ext cx="0" cy="68580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7610A48F-B445-9496-1587-79558541A2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0840" y="187071"/>
            <a:ext cx="6717178" cy="6483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7211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1" name="Picture 1">
            <a:extLst>
              <a:ext uri="{FF2B5EF4-FFF2-40B4-BE49-F238E27FC236}">
                <a16:creationId xmlns:a16="http://schemas.microsoft.com/office/drawing/2014/main" id="{0698878A-ECA4-E6B2-234B-DAAD7BADE1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06" y="1988833"/>
            <a:ext cx="10735787" cy="2880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703DB21-2BD5-0A98-B9E4-2A2F8BBA92B8}"/>
              </a:ext>
            </a:extLst>
          </p:cNvPr>
          <p:cNvCxnSpPr>
            <a:cxnSpLocks/>
          </p:cNvCxnSpPr>
          <p:nvPr/>
        </p:nvCxnSpPr>
        <p:spPr>
          <a:xfrm flipV="1">
            <a:off x="0" y="873293"/>
            <a:ext cx="12192000" cy="400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0BFFCF4F-D3A3-6470-2FF4-A719E1040ED2}"/>
              </a:ext>
            </a:extLst>
          </p:cNvPr>
          <p:cNvSpPr txBox="1"/>
          <p:nvPr/>
        </p:nvSpPr>
        <p:spPr>
          <a:xfrm>
            <a:off x="459685" y="390109"/>
            <a:ext cx="33598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ase With Power-Up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906C409-F22C-6D84-C717-BDD4C895DC58}"/>
              </a:ext>
            </a:extLst>
          </p:cNvPr>
          <p:cNvCxnSpPr>
            <a:cxnSpLocks/>
          </p:cNvCxnSpPr>
          <p:nvPr/>
        </p:nvCxnSpPr>
        <p:spPr>
          <a:xfrm flipV="1">
            <a:off x="1130808" y="4207764"/>
            <a:ext cx="0" cy="2072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C8A0E95-E039-30AF-A044-795A6D3A6DD5}"/>
              </a:ext>
            </a:extLst>
          </p:cNvPr>
          <p:cNvCxnSpPr>
            <a:cxnSpLocks/>
          </p:cNvCxnSpPr>
          <p:nvPr/>
        </p:nvCxnSpPr>
        <p:spPr>
          <a:xfrm rot="5400000" flipV="1">
            <a:off x="9268968" y="4162044"/>
            <a:ext cx="0" cy="2072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458EAF2F-5FB1-4272-06F9-DB69F0DBEF48}"/>
              </a:ext>
            </a:extLst>
          </p:cNvPr>
          <p:cNvCxnSpPr>
            <a:cxnSpLocks/>
          </p:cNvCxnSpPr>
          <p:nvPr/>
        </p:nvCxnSpPr>
        <p:spPr>
          <a:xfrm flipV="1">
            <a:off x="1443228" y="3864864"/>
            <a:ext cx="0" cy="2072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2212632-A729-8D89-D56F-E9210F362041}"/>
              </a:ext>
            </a:extLst>
          </p:cNvPr>
          <p:cNvCxnSpPr>
            <a:cxnSpLocks/>
          </p:cNvCxnSpPr>
          <p:nvPr/>
        </p:nvCxnSpPr>
        <p:spPr>
          <a:xfrm rot="5400000" flipV="1">
            <a:off x="9649968" y="3784092"/>
            <a:ext cx="0" cy="2072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65A77CC-141A-5481-2016-1A0DA7F47515}"/>
              </a:ext>
            </a:extLst>
          </p:cNvPr>
          <p:cNvCxnSpPr>
            <a:cxnSpLocks/>
          </p:cNvCxnSpPr>
          <p:nvPr/>
        </p:nvCxnSpPr>
        <p:spPr>
          <a:xfrm flipV="1">
            <a:off x="1816608" y="3521964"/>
            <a:ext cx="0" cy="2072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A4BE81F-D297-403D-6E6B-3270CCBA03B9}"/>
              </a:ext>
            </a:extLst>
          </p:cNvPr>
          <p:cNvCxnSpPr>
            <a:cxnSpLocks/>
          </p:cNvCxnSpPr>
          <p:nvPr/>
        </p:nvCxnSpPr>
        <p:spPr>
          <a:xfrm flipV="1">
            <a:off x="1816608" y="3156204"/>
            <a:ext cx="0" cy="2072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5C8C662-DAB3-B39F-6976-572F66A8201D}"/>
              </a:ext>
            </a:extLst>
          </p:cNvPr>
          <p:cNvCxnSpPr>
            <a:cxnSpLocks/>
          </p:cNvCxnSpPr>
          <p:nvPr/>
        </p:nvCxnSpPr>
        <p:spPr>
          <a:xfrm flipV="1">
            <a:off x="1816608" y="2790444"/>
            <a:ext cx="0" cy="2072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F2AF713-2EE7-0DED-B19F-D7581339E599}"/>
              </a:ext>
            </a:extLst>
          </p:cNvPr>
          <p:cNvCxnSpPr>
            <a:cxnSpLocks/>
          </p:cNvCxnSpPr>
          <p:nvPr/>
        </p:nvCxnSpPr>
        <p:spPr>
          <a:xfrm rot="5400000" flipV="1">
            <a:off x="9985248" y="2724912"/>
            <a:ext cx="0" cy="2072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2EDDD691-0348-2481-AB4E-CE7A65F5926A}"/>
              </a:ext>
            </a:extLst>
          </p:cNvPr>
          <p:cNvSpPr/>
          <p:nvPr/>
        </p:nvSpPr>
        <p:spPr>
          <a:xfrm>
            <a:off x="1661160" y="2575560"/>
            <a:ext cx="320038" cy="3124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531A6D8-69C2-BEDD-34BE-6BE1B7AB0FF9}"/>
              </a:ext>
            </a:extLst>
          </p:cNvPr>
          <p:cNvSpPr/>
          <p:nvPr/>
        </p:nvSpPr>
        <p:spPr>
          <a:xfrm>
            <a:off x="9649968" y="2586243"/>
            <a:ext cx="320038" cy="3124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C20CDBE-D1E1-28EC-1CC3-4C15050FD269}"/>
              </a:ext>
            </a:extLst>
          </p:cNvPr>
          <p:cNvCxnSpPr>
            <a:cxnSpLocks/>
          </p:cNvCxnSpPr>
          <p:nvPr/>
        </p:nvCxnSpPr>
        <p:spPr>
          <a:xfrm flipV="1">
            <a:off x="2197608" y="2455164"/>
            <a:ext cx="0" cy="2072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02B789D-FEB1-01C6-2A45-6D5737C9A041}"/>
              </a:ext>
            </a:extLst>
          </p:cNvPr>
          <p:cNvCxnSpPr>
            <a:cxnSpLocks/>
          </p:cNvCxnSpPr>
          <p:nvPr/>
        </p:nvCxnSpPr>
        <p:spPr>
          <a:xfrm rot="5400000" flipV="1">
            <a:off x="10358628" y="2382012"/>
            <a:ext cx="0" cy="2072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1B61D65-9913-2C51-2FC2-EEF62AFBC834}"/>
              </a:ext>
            </a:extLst>
          </p:cNvPr>
          <p:cNvCxnSpPr>
            <a:cxnSpLocks/>
          </p:cNvCxnSpPr>
          <p:nvPr/>
        </p:nvCxnSpPr>
        <p:spPr>
          <a:xfrm rot="5400000" flipV="1">
            <a:off x="10709148" y="2382012"/>
            <a:ext cx="0" cy="2072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46E57A31-FE2C-1B5C-F661-976DE7E71A2E}"/>
              </a:ext>
            </a:extLst>
          </p:cNvPr>
          <p:cNvCxnSpPr>
            <a:cxnSpLocks/>
          </p:cNvCxnSpPr>
          <p:nvPr/>
        </p:nvCxnSpPr>
        <p:spPr>
          <a:xfrm rot="5400000" flipV="1">
            <a:off x="11029188" y="2382012"/>
            <a:ext cx="0" cy="2072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id="{16ABC0B2-0CA8-A044-C662-66AD9BA722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76873" y="62940"/>
            <a:ext cx="777307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1973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996ACF6-AD1E-EB20-4AE9-8AE9D1C9EFA8}"/>
              </a:ext>
            </a:extLst>
          </p:cNvPr>
          <p:cNvCxnSpPr>
            <a:cxnSpLocks/>
          </p:cNvCxnSpPr>
          <p:nvPr/>
        </p:nvCxnSpPr>
        <p:spPr>
          <a:xfrm flipV="1">
            <a:off x="0" y="873293"/>
            <a:ext cx="12192000" cy="400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4CDF25B-7A0E-8594-D2F4-68A04F4892A5}"/>
              </a:ext>
            </a:extLst>
          </p:cNvPr>
          <p:cNvSpPr txBox="1"/>
          <p:nvPr/>
        </p:nvSpPr>
        <p:spPr>
          <a:xfrm>
            <a:off x="286965" y="390109"/>
            <a:ext cx="23591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ase Covere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A876F0-7714-E6E1-2703-E3EF85DBD0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162" y="1632362"/>
            <a:ext cx="11705675" cy="388282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2F98621-B2B9-0664-C117-4B8B9F63E2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76873" y="62940"/>
            <a:ext cx="777307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729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DC2CCC8D-1625-446F-90C0-4629122B4DD4}" vid="{1BB9B128-420B-4197-BDDB-C5C68FFD6CA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416</TotalTime>
  <Words>472</Words>
  <Application>Microsoft Office PowerPoint</Application>
  <PresentationFormat>Widescreen</PresentationFormat>
  <Paragraphs>74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ptos</vt:lpstr>
      <vt:lpstr>Aptos Display</vt:lpstr>
      <vt:lpstr>Arial</vt:lpstr>
      <vt:lpstr>Calibri</vt:lpstr>
      <vt:lpstr>TSTAR</vt:lpstr>
      <vt:lpstr>Office Theme</vt:lpstr>
      <vt:lpstr>1_Offic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aris Hussain</dc:creator>
  <cp:lastModifiedBy>Faris Hussain</cp:lastModifiedBy>
  <cp:revision>1</cp:revision>
  <dcterms:created xsi:type="dcterms:W3CDTF">2024-07-06T21:13:31Z</dcterms:created>
  <dcterms:modified xsi:type="dcterms:W3CDTF">2024-07-09T06:10:28Z</dcterms:modified>
</cp:coreProperties>
</file>